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8" r:id="rId2"/>
  </p:sldIdLst>
  <p:sldSz cx="7556500" cy="10693400"/>
  <p:notesSz cx="6858000" cy="9144000"/>
  <p:embeddedFontLst>
    <p:embeddedFont>
      <p:font typeface="Butcherman" panose="02000000000000000000" pitchFamily="2" charset="0"/>
      <p:regular r:id="rId3"/>
    </p:embeddedFont>
    <p:embeddedFont>
      <p:font typeface="Mansalva" pitchFamily="2" charset="0"/>
      <p:regular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6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150" d="100"/>
          <a:sy n="150" d="100"/>
        </p:scale>
        <p:origin x="-3000" y="-27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2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508" userDrawn="1">
          <p15:clr>
            <a:srgbClr val="F26B43"/>
          </p15:clr>
        </p15:guide>
        <p15:guide id="3" pos="4760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67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">
            <a:extLst>
              <a:ext uri="{FF2B5EF4-FFF2-40B4-BE49-F238E27FC236}">
                <a16:creationId xmlns:a16="http://schemas.microsoft.com/office/drawing/2014/main" id="{3AF8DBAA-3E23-B1E2-50E4-DAC09BD9C2E0}"/>
              </a:ext>
            </a:extLst>
          </p:cNvPr>
          <p:cNvGrpSpPr/>
          <p:nvPr/>
        </p:nvGrpSpPr>
        <p:grpSpPr>
          <a:xfrm>
            <a:off x="-2220531" y="0"/>
            <a:ext cx="11904635" cy="10676574"/>
            <a:chOff x="-2220531" y="0"/>
            <a:chExt cx="11904635" cy="1067657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7556500" cy="10275622"/>
            </a:xfrm>
            <a:custGeom>
              <a:avLst/>
              <a:gdLst/>
              <a:ahLst/>
              <a:cxnLst/>
              <a:rect l="l" t="t" r="r" b="b"/>
              <a:pathLst>
                <a:path w="819974" h="1043297">
                  <a:moveTo>
                    <a:pt x="273472" y="1024228"/>
                  </a:moveTo>
                  <a:cubicBezTo>
                    <a:pt x="315510" y="1035742"/>
                    <a:pt x="363302" y="1043297"/>
                    <a:pt x="410208" y="1043297"/>
                  </a:cubicBezTo>
                  <a:cubicBezTo>
                    <a:pt x="457115" y="1043297"/>
                    <a:pt x="502251" y="1036820"/>
                    <a:pt x="543846" y="1025306"/>
                  </a:cubicBezTo>
                  <a:cubicBezTo>
                    <a:pt x="544732" y="1024947"/>
                    <a:pt x="545617" y="1024947"/>
                    <a:pt x="546501" y="1024587"/>
                  </a:cubicBezTo>
                  <a:cubicBezTo>
                    <a:pt x="702708" y="978532"/>
                    <a:pt x="817761" y="856918"/>
                    <a:pt x="819974" y="709675"/>
                  </a:cubicBezTo>
                  <a:lnTo>
                    <a:pt x="819974" y="0"/>
                  </a:lnTo>
                  <a:lnTo>
                    <a:pt x="0" y="0"/>
                  </a:lnTo>
                  <a:lnTo>
                    <a:pt x="0" y="709148"/>
                  </a:lnTo>
                  <a:cubicBezTo>
                    <a:pt x="2213" y="857637"/>
                    <a:pt x="115496" y="979252"/>
                    <a:pt x="273472" y="1024228"/>
                  </a:cubicBezTo>
                  <a:close/>
                </a:path>
              </a:pathLst>
            </a:custGeom>
            <a:gradFill rotWithShape="1">
              <a:gsLst>
                <a:gs pos="0">
                  <a:srgbClr val="FF8B01">
                    <a:alpha val="100000"/>
                  </a:srgbClr>
                </a:gs>
                <a:gs pos="100000">
                  <a:srgbClr val="CE3E00">
                    <a:alpha val="100000"/>
                  </a:srgbClr>
                </a:gs>
              </a:gsLst>
              <a:path path="circle">
                <a:fillToRect l="50000" t="50000" r="50000" b="50000"/>
              </a:path>
            </a:gradFill>
            <a:ln cap="sq">
              <a:noFill/>
              <a:prstDash val="solid"/>
              <a:miter/>
            </a:ln>
          </p:spPr>
          <p:txBody>
            <a:bodyPr>
              <a:normAutofit/>
            </a:bodyPr>
            <a:lstStyle/>
            <a:p>
              <a:endParaRPr lang="en-US" dirty="0"/>
            </a:p>
          </p:txBody>
        </p:sp>
        <p:sp>
          <p:nvSpPr>
            <p:cNvPr id="21" name="Freeform 21"/>
            <p:cNvSpPr/>
            <p:nvPr/>
          </p:nvSpPr>
          <p:spPr>
            <a:xfrm rot="-1253635" flipH="1">
              <a:off x="3092633" y="8733060"/>
              <a:ext cx="1572564" cy="1735585"/>
            </a:xfrm>
            <a:custGeom>
              <a:avLst/>
              <a:gdLst/>
              <a:ahLst/>
              <a:cxnLst/>
              <a:rect l="l" t="t" r="r" b="b"/>
              <a:pathLst>
                <a:path w="1572564" h="1735585">
                  <a:moveTo>
                    <a:pt x="1572564" y="0"/>
                  </a:moveTo>
                  <a:lnTo>
                    <a:pt x="0" y="0"/>
                  </a:lnTo>
                  <a:lnTo>
                    <a:pt x="0" y="1735585"/>
                  </a:lnTo>
                  <a:lnTo>
                    <a:pt x="1572564" y="1735585"/>
                  </a:lnTo>
                  <a:lnTo>
                    <a:pt x="1572564" y="0"/>
                  </a:lnTo>
                  <a:close/>
                </a:path>
              </a:pathLst>
            </a:custGeom>
            <a:blipFill>
              <a:blip r:embed="rId3">
                <a:alphaModFix amt="5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ABAAA83-3611-DA3B-2C4A-DFBD037705E6}"/>
                </a:ext>
              </a:extLst>
            </p:cNvPr>
            <p:cNvGrpSpPr/>
            <p:nvPr/>
          </p:nvGrpSpPr>
          <p:grpSpPr>
            <a:xfrm>
              <a:off x="-2220531" y="253688"/>
              <a:ext cx="11904635" cy="10157381"/>
              <a:chOff x="-2220531" y="253688"/>
              <a:chExt cx="11904635" cy="10157381"/>
            </a:xfrm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B7B80F6-9C35-B782-3660-91DAB803D952}"/>
                  </a:ext>
                </a:extLst>
              </p:cNvPr>
              <p:cNvSpPr/>
              <p:nvPr/>
            </p:nvSpPr>
            <p:spPr>
              <a:xfrm rot="-1398000" flipH="1">
                <a:off x="4222733" y="1826629"/>
                <a:ext cx="4369062" cy="8584440"/>
              </a:xfrm>
              <a:custGeom>
                <a:avLst/>
                <a:gdLst>
                  <a:gd name="connsiteX0" fmla="*/ 0 w 4369062"/>
                  <a:gd name="connsiteY0" fmla="*/ 7483248 h 8584440"/>
                  <a:gd name="connsiteX1" fmla="*/ 0 w 4369062"/>
                  <a:gd name="connsiteY1" fmla="*/ 8584440 h 8584440"/>
                  <a:gd name="connsiteX2" fmla="*/ 474247 w 4369062"/>
                  <a:gd name="connsiteY2" fmla="*/ 8584438 h 8584440"/>
                  <a:gd name="connsiteX3" fmla="*/ 0 w 4369062"/>
                  <a:gd name="connsiteY3" fmla="*/ 0 h 8584440"/>
                  <a:gd name="connsiteX4" fmla="*/ 0 w 4369062"/>
                  <a:gd name="connsiteY4" fmla="*/ 2457033 h 8584440"/>
                  <a:gd name="connsiteX5" fmla="*/ 120537 w 4369062"/>
                  <a:gd name="connsiteY5" fmla="*/ 2405122 h 8584440"/>
                  <a:gd name="connsiteX6" fmla="*/ 2781771 w 4369062"/>
                  <a:gd name="connsiteY6" fmla="*/ 8584438 h 8584440"/>
                  <a:gd name="connsiteX7" fmla="*/ 3769403 w 4369062"/>
                  <a:gd name="connsiteY7" fmla="*/ 8584438 h 8584440"/>
                  <a:gd name="connsiteX8" fmla="*/ 4369062 w 4369062"/>
                  <a:gd name="connsiteY8" fmla="*/ 8326184 h 8584440"/>
                  <a:gd name="connsiteX9" fmla="*/ 4369062 w 4369062"/>
                  <a:gd name="connsiteY9" fmla="*/ 0 h 8584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69062" h="8584440">
                    <a:moveTo>
                      <a:pt x="0" y="7483248"/>
                    </a:moveTo>
                    <a:lnTo>
                      <a:pt x="0" y="8584440"/>
                    </a:lnTo>
                    <a:lnTo>
                      <a:pt x="474247" y="8584438"/>
                    </a:lnTo>
                    <a:close/>
                    <a:moveTo>
                      <a:pt x="0" y="0"/>
                    </a:moveTo>
                    <a:lnTo>
                      <a:pt x="0" y="2457033"/>
                    </a:lnTo>
                    <a:lnTo>
                      <a:pt x="120537" y="2405122"/>
                    </a:lnTo>
                    <a:lnTo>
                      <a:pt x="2781771" y="8584438"/>
                    </a:lnTo>
                    <a:lnTo>
                      <a:pt x="3769403" y="8584438"/>
                    </a:lnTo>
                    <a:lnTo>
                      <a:pt x="4369062" y="8326184"/>
                    </a:lnTo>
                    <a:lnTo>
                      <a:pt x="4369062" y="0"/>
                    </a:lnTo>
                    <a:close/>
                  </a:path>
                </a:pathLst>
              </a:custGeom>
              <a:blipFill>
                <a:blip r:embed="rId5">
                  <a:alphaModFix amt="28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0AB5C92-FC7D-B29C-5B7B-FED0DB903C98}"/>
                  </a:ext>
                </a:extLst>
              </p:cNvPr>
              <p:cNvSpPr/>
              <p:nvPr/>
            </p:nvSpPr>
            <p:spPr>
              <a:xfrm rot="417837">
                <a:off x="-2081753" y="253688"/>
                <a:ext cx="4763527" cy="9359493"/>
              </a:xfrm>
              <a:custGeom>
                <a:avLst/>
                <a:gdLst>
                  <a:gd name="connsiteX0" fmla="*/ 0 w 4763527"/>
                  <a:gd name="connsiteY0" fmla="*/ 6132050 h 9359493"/>
                  <a:gd name="connsiteX1" fmla="*/ 394219 w 4763527"/>
                  <a:gd name="connsiteY1" fmla="*/ 9359493 h 9359493"/>
                  <a:gd name="connsiteX2" fmla="*/ 0 w 4763527"/>
                  <a:gd name="connsiteY2" fmla="*/ 9359493 h 9359493"/>
                  <a:gd name="connsiteX3" fmla="*/ 0 w 4763527"/>
                  <a:gd name="connsiteY3" fmla="*/ 0 h 9359493"/>
                  <a:gd name="connsiteX4" fmla="*/ 4763527 w 4763527"/>
                  <a:gd name="connsiteY4" fmla="*/ 0 h 9359493"/>
                  <a:gd name="connsiteX5" fmla="*/ 4763527 w 4763527"/>
                  <a:gd name="connsiteY5" fmla="*/ 9359493 h 9359493"/>
                  <a:gd name="connsiteX6" fmla="*/ 2646337 w 4763527"/>
                  <a:gd name="connsiteY6" fmla="*/ 9359493 h 9359493"/>
                  <a:gd name="connsiteX7" fmla="*/ 1640082 w 4763527"/>
                  <a:gd name="connsiteY7" fmla="*/ 1121353 h 9359493"/>
                  <a:gd name="connsiteX8" fmla="*/ 0 w 4763527"/>
                  <a:gd name="connsiteY8" fmla="*/ 1321682 h 9359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3527" h="9359493">
                    <a:moveTo>
                      <a:pt x="0" y="6132050"/>
                    </a:moveTo>
                    <a:lnTo>
                      <a:pt x="394219" y="9359493"/>
                    </a:lnTo>
                    <a:lnTo>
                      <a:pt x="0" y="9359493"/>
                    </a:lnTo>
                    <a:close/>
                    <a:moveTo>
                      <a:pt x="0" y="0"/>
                    </a:moveTo>
                    <a:lnTo>
                      <a:pt x="4763527" y="0"/>
                    </a:lnTo>
                    <a:lnTo>
                      <a:pt x="4763527" y="9359493"/>
                    </a:lnTo>
                    <a:lnTo>
                      <a:pt x="2646337" y="9359493"/>
                    </a:lnTo>
                    <a:lnTo>
                      <a:pt x="1640082" y="1121353"/>
                    </a:lnTo>
                    <a:lnTo>
                      <a:pt x="0" y="1321682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60912719-4222-C26C-38D0-5042ED14CC98}"/>
                  </a:ext>
                </a:extLst>
              </p:cNvPr>
              <p:cNvSpPr/>
              <p:nvPr/>
            </p:nvSpPr>
            <p:spPr>
              <a:xfrm rot="1399089">
                <a:off x="-2220531" y="1826017"/>
                <a:ext cx="4369062" cy="8584438"/>
              </a:xfrm>
              <a:custGeom>
                <a:avLst/>
                <a:gdLst>
                  <a:gd name="connsiteX0" fmla="*/ 0 w 4369062"/>
                  <a:gd name="connsiteY0" fmla="*/ 7530981 h 8584438"/>
                  <a:gd name="connsiteX1" fmla="*/ 454086 w 4369062"/>
                  <a:gd name="connsiteY1" fmla="*/ 8584438 h 8584438"/>
                  <a:gd name="connsiteX2" fmla="*/ 0 w 4369062"/>
                  <a:gd name="connsiteY2" fmla="*/ 8584438 h 8584438"/>
                  <a:gd name="connsiteX3" fmla="*/ 0 w 4369062"/>
                  <a:gd name="connsiteY3" fmla="*/ 0 h 8584438"/>
                  <a:gd name="connsiteX4" fmla="*/ 4369062 w 4369062"/>
                  <a:gd name="connsiteY4" fmla="*/ 0 h 8584438"/>
                  <a:gd name="connsiteX5" fmla="*/ 4369062 w 4369062"/>
                  <a:gd name="connsiteY5" fmla="*/ 8326710 h 8584438"/>
                  <a:gd name="connsiteX6" fmla="*/ 4026435 w 4369062"/>
                  <a:gd name="connsiteY6" fmla="*/ 8474397 h 8584438"/>
                  <a:gd name="connsiteX7" fmla="*/ 904210 w 4369062"/>
                  <a:gd name="connsiteY7" fmla="*/ 1230989 h 8584438"/>
                  <a:gd name="connsiteX8" fmla="*/ 0 w 4369062"/>
                  <a:gd name="connsiteY8" fmla="*/ 1620743 h 8584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69062" h="8584438">
                    <a:moveTo>
                      <a:pt x="0" y="7530981"/>
                    </a:moveTo>
                    <a:lnTo>
                      <a:pt x="454086" y="8584438"/>
                    </a:lnTo>
                    <a:lnTo>
                      <a:pt x="0" y="8584438"/>
                    </a:lnTo>
                    <a:close/>
                    <a:moveTo>
                      <a:pt x="0" y="0"/>
                    </a:moveTo>
                    <a:lnTo>
                      <a:pt x="4369062" y="0"/>
                    </a:lnTo>
                    <a:lnTo>
                      <a:pt x="4369062" y="8326710"/>
                    </a:lnTo>
                    <a:lnTo>
                      <a:pt x="4026435" y="8474397"/>
                    </a:lnTo>
                    <a:lnTo>
                      <a:pt x="904210" y="1230989"/>
                    </a:lnTo>
                    <a:lnTo>
                      <a:pt x="0" y="1620743"/>
                    </a:lnTo>
                    <a:close/>
                  </a:path>
                </a:pathLst>
              </a:custGeom>
              <a:blipFill>
                <a:blip r:embed="rId5">
                  <a:alphaModFix amt="28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F26433B6-177F-5297-C5E2-54074E137526}"/>
                  </a:ext>
                </a:extLst>
              </p:cNvPr>
              <p:cNvSpPr/>
              <p:nvPr/>
            </p:nvSpPr>
            <p:spPr>
              <a:xfrm rot="21180000" flipH="1">
                <a:off x="4920578" y="254301"/>
                <a:ext cx="4763526" cy="9359494"/>
              </a:xfrm>
              <a:custGeom>
                <a:avLst/>
                <a:gdLst>
                  <a:gd name="connsiteX0" fmla="*/ 0 w 4763526"/>
                  <a:gd name="connsiteY0" fmla="*/ 5713850 h 9359494"/>
                  <a:gd name="connsiteX1" fmla="*/ 0 w 4763526"/>
                  <a:gd name="connsiteY1" fmla="*/ 9359493 h 9359494"/>
                  <a:gd name="connsiteX2" fmla="*/ 447629 w 4763526"/>
                  <a:gd name="connsiteY2" fmla="*/ 9359493 h 9359494"/>
                  <a:gd name="connsiteX3" fmla="*/ 0 w 4763526"/>
                  <a:gd name="connsiteY3" fmla="*/ 0 h 9359494"/>
                  <a:gd name="connsiteX4" fmla="*/ 0 w 4763526"/>
                  <a:gd name="connsiteY4" fmla="*/ 1549329 h 9359494"/>
                  <a:gd name="connsiteX5" fmla="*/ 1715096 w 4763526"/>
                  <a:gd name="connsiteY5" fmla="*/ 1338742 h 9359494"/>
                  <a:gd name="connsiteX6" fmla="*/ 2699920 w 4763526"/>
                  <a:gd name="connsiteY6" fmla="*/ 9359494 h 9359494"/>
                  <a:gd name="connsiteX7" fmla="*/ 4763526 w 4763526"/>
                  <a:gd name="connsiteY7" fmla="*/ 9359493 h 9359494"/>
                  <a:gd name="connsiteX8" fmla="*/ 4763526 w 4763526"/>
                  <a:gd name="connsiteY8" fmla="*/ 0 h 9359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3526" h="9359494">
                    <a:moveTo>
                      <a:pt x="0" y="5713850"/>
                    </a:moveTo>
                    <a:lnTo>
                      <a:pt x="0" y="9359493"/>
                    </a:lnTo>
                    <a:lnTo>
                      <a:pt x="447629" y="9359493"/>
                    </a:lnTo>
                    <a:close/>
                    <a:moveTo>
                      <a:pt x="0" y="0"/>
                    </a:moveTo>
                    <a:lnTo>
                      <a:pt x="0" y="1549329"/>
                    </a:lnTo>
                    <a:lnTo>
                      <a:pt x="1715096" y="1338742"/>
                    </a:lnTo>
                    <a:lnTo>
                      <a:pt x="2699920" y="9359494"/>
                    </a:lnTo>
                    <a:lnTo>
                      <a:pt x="4763526" y="9359493"/>
                    </a:lnTo>
                    <a:lnTo>
                      <a:pt x="4763526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1"/>
              <p:cNvSpPr/>
              <p:nvPr/>
            </p:nvSpPr>
            <p:spPr>
              <a:xfrm>
                <a:off x="2268000" y="9586118"/>
                <a:ext cx="3024000" cy="703767"/>
              </a:xfrm>
              <a:custGeom>
                <a:avLst/>
                <a:gdLst/>
                <a:ahLst/>
                <a:cxnLst/>
                <a:rect l="l" t="t" r="r" b="b"/>
                <a:pathLst>
                  <a:path w="3024000" h="703767">
                    <a:moveTo>
                      <a:pt x="0" y="0"/>
                    </a:moveTo>
                    <a:lnTo>
                      <a:pt x="3024000" y="0"/>
                    </a:lnTo>
                    <a:lnTo>
                      <a:pt x="3024000" y="703768"/>
                    </a:lnTo>
                    <a:lnTo>
                      <a:pt x="0" y="70376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Freeform 8"/>
              <p:cNvSpPr/>
              <p:nvPr/>
            </p:nvSpPr>
            <p:spPr>
              <a:xfrm flipH="1">
                <a:off x="559305" y="1281660"/>
                <a:ext cx="456308" cy="572173"/>
              </a:xfrm>
              <a:custGeom>
                <a:avLst/>
                <a:gdLst/>
                <a:ahLst/>
                <a:cxnLst/>
                <a:rect l="l" t="t" r="r" b="b"/>
                <a:pathLst>
                  <a:path w="608410" h="762897">
                    <a:moveTo>
                      <a:pt x="608410" y="0"/>
                    </a:moveTo>
                    <a:lnTo>
                      <a:pt x="0" y="0"/>
                    </a:lnTo>
                    <a:lnTo>
                      <a:pt x="0" y="762896"/>
                    </a:lnTo>
                    <a:lnTo>
                      <a:pt x="608410" y="762896"/>
                    </a:lnTo>
                    <a:lnTo>
                      <a:pt x="60841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AA31C3A-67B6-D2F2-A35C-65DD68F06922}"/>
                </a:ext>
              </a:extLst>
            </p:cNvPr>
            <p:cNvGrpSpPr/>
            <p:nvPr/>
          </p:nvGrpSpPr>
          <p:grpSpPr>
            <a:xfrm>
              <a:off x="300010" y="8617710"/>
              <a:ext cx="6959980" cy="2058864"/>
              <a:chOff x="300010" y="8617710"/>
              <a:chExt cx="6959980" cy="2058864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300010" y="8617710"/>
                <a:ext cx="2695731" cy="2058864"/>
              </a:xfrm>
              <a:custGeom>
                <a:avLst/>
                <a:gdLst/>
                <a:ahLst/>
                <a:cxnLst/>
                <a:rect l="l" t="t" r="r" b="b"/>
                <a:pathLst>
                  <a:path w="3594308" h="2745152">
                    <a:moveTo>
                      <a:pt x="0" y="0"/>
                    </a:moveTo>
                    <a:lnTo>
                      <a:pt x="3594308" y="0"/>
                    </a:lnTo>
                    <a:lnTo>
                      <a:pt x="3594308" y="2745152"/>
                    </a:lnTo>
                    <a:lnTo>
                      <a:pt x="0" y="274515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Freeform 14"/>
              <p:cNvSpPr/>
              <p:nvPr/>
            </p:nvSpPr>
            <p:spPr>
              <a:xfrm rot="327108">
                <a:off x="1126805" y="9237653"/>
                <a:ext cx="1221081" cy="637182"/>
              </a:xfrm>
              <a:custGeom>
                <a:avLst/>
                <a:gdLst/>
                <a:ahLst/>
                <a:cxnLst/>
                <a:rect l="l" t="t" r="r" b="b"/>
                <a:pathLst>
                  <a:path w="1628108" h="849576">
                    <a:moveTo>
                      <a:pt x="0" y="0"/>
                    </a:moveTo>
                    <a:lnTo>
                      <a:pt x="1628108" y="0"/>
                    </a:lnTo>
                    <a:lnTo>
                      <a:pt x="1628108" y="849577"/>
                    </a:lnTo>
                    <a:lnTo>
                      <a:pt x="0" y="84957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16"/>
              <p:cNvSpPr/>
              <p:nvPr/>
            </p:nvSpPr>
            <p:spPr>
              <a:xfrm flipH="1">
                <a:off x="4564259" y="8617710"/>
                <a:ext cx="2695731" cy="2058864"/>
              </a:xfrm>
              <a:custGeom>
                <a:avLst/>
                <a:gdLst/>
                <a:ahLst/>
                <a:cxnLst/>
                <a:rect l="l" t="t" r="r" b="b"/>
                <a:pathLst>
                  <a:path w="3594308" h="2745152">
                    <a:moveTo>
                      <a:pt x="3594308" y="0"/>
                    </a:moveTo>
                    <a:lnTo>
                      <a:pt x="0" y="0"/>
                    </a:lnTo>
                    <a:lnTo>
                      <a:pt x="0" y="2745152"/>
                    </a:lnTo>
                    <a:lnTo>
                      <a:pt x="3594308" y="2745152"/>
                    </a:lnTo>
                    <a:lnTo>
                      <a:pt x="3594308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Freeform 17"/>
              <p:cNvSpPr/>
              <p:nvPr/>
            </p:nvSpPr>
            <p:spPr>
              <a:xfrm rot="21318312">
                <a:off x="5212114" y="9237653"/>
                <a:ext cx="1221081" cy="637182"/>
              </a:xfrm>
              <a:custGeom>
                <a:avLst/>
                <a:gdLst/>
                <a:ahLst/>
                <a:cxnLst/>
                <a:rect l="l" t="t" r="r" b="b"/>
                <a:pathLst>
                  <a:path w="1628108" h="849576">
                    <a:moveTo>
                      <a:pt x="0" y="0"/>
                    </a:moveTo>
                    <a:lnTo>
                      <a:pt x="1628108" y="0"/>
                    </a:lnTo>
                    <a:lnTo>
                      <a:pt x="1628108" y="849577"/>
                    </a:lnTo>
                    <a:lnTo>
                      <a:pt x="0" y="84957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C5C56D4-ECC2-B2EB-0991-40AB5EB13D61}"/>
                </a:ext>
              </a:extLst>
            </p:cNvPr>
            <p:cNvGrpSpPr/>
            <p:nvPr/>
          </p:nvGrpSpPr>
          <p:grpSpPr>
            <a:xfrm>
              <a:off x="729816" y="2234423"/>
              <a:ext cx="6096869" cy="6126975"/>
              <a:chOff x="830481" y="2234423"/>
              <a:chExt cx="6096869" cy="6126975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8464861E-A5BF-44D6-6643-B831C128FA19}"/>
                  </a:ext>
                </a:extLst>
              </p:cNvPr>
              <p:cNvGrpSpPr/>
              <p:nvPr/>
            </p:nvGrpSpPr>
            <p:grpSpPr>
              <a:xfrm>
                <a:off x="830481" y="2234423"/>
                <a:ext cx="6096869" cy="6126975"/>
                <a:chOff x="830481" y="2234423"/>
                <a:chExt cx="6096869" cy="6126975"/>
              </a:xfrm>
            </p:grpSpPr>
            <p:sp>
              <p:nvSpPr>
                <p:cNvPr id="23" name="Freeform 23"/>
                <p:cNvSpPr/>
                <p:nvPr/>
              </p:nvSpPr>
              <p:spPr>
                <a:xfrm>
                  <a:off x="830481" y="2800246"/>
                  <a:ext cx="6096869" cy="5561152"/>
                </a:xfrm>
                <a:prstGeom prst="roundRect">
                  <a:avLst>
                    <a:gd name="adj" fmla="val 1338"/>
                  </a:avLst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Freeform 26"/>
                <p:cNvSpPr/>
                <p:nvPr/>
              </p:nvSpPr>
              <p:spPr>
                <a:xfrm>
                  <a:off x="830481" y="2234423"/>
                  <a:ext cx="2401118" cy="413423"/>
                </a:xfrm>
                <a:prstGeom prst="roundRect">
                  <a:avLst/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" name="Freeform 29"/>
                <p:cNvSpPr/>
                <p:nvPr/>
              </p:nvSpPr>
              <p:spPr>
                <a:xfrm>
                  <a:off x="3363700" y="2234423"/>
                  <a:ext cx="3558887" cy="413423"/>
                </a:xfrm>
                <a:prstGeom prst="roundRect">
                  <a:avLst/>
                </a:prstGeom>
                <a:solidFill>
                  <a:srgbClr val="FFFFFF"/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D1E603B2-513A-681C-BDC9-9338AE8F4C7A}"/>
                  </a:ext>
                </a:extLst>
              </p:cNvPr>
              <p:cNvGrpSpPr/>
              <p:nvPr/>
            </p:nvGrpSpPr>
            <p:grpSpPr>
              <a:xfrm>
                <a:off x="1073542" y="3137410"/>
                <a:ext cx="5610746" cy="4901633"/>
                <a:chOff x="1073542" y="3137410"/>
                <a:chExt cx="5610746" cy="4901633"/>
              </a:xfrm>
            </p:grpSpPr>
            <p:sp>
              <p:nvSpPr>
                <p:cNvPr id="31" name="AutoShape 31"/>
                <p:cNvSpPr/>
                <p:nvPr/>
              </p:nvSpPr>
              <p:spPr>
                <a:xfrm>
                  <a:off x="2862771" y="3137410"/>
                  <a:ext cx="0" cy="4901633"/>
                </a:xfrm>
                <a:prstGeom prst="line">
                  <a:avLst/>
                </a:prstGeom>
                <a:ln w="9525" cap="flat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" name="AutoShape 32"/>
                <p:cNvSpPr/>
                <p:nvPr/>
              </p:nvSpPr>
              <p:spPr>
                <a:xfrm flipH="1">
                  <a:off x="4895061" y="3137410"/>
                  <a:ext cx="0" cy="4901633"/>
                </a:xfrm>
                <a:prstGeom prst="line">
                  <a:avLst/>
                </a:prstGeom>
                <a:ln w="9525" cap="flat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" name="AutoShape 33"/>
                <p:cNvSpPr/>
                <p:nvPr/>
              </p:nvSpPr>
              <p:spPr>
                <a:xfrm>
                  <a:off x="1073542" y="3701461"/>
                  <a:ext cx="1552516" cy="0"/>
                </a:xfrm>
                <a:prstGeom prst="line">
                  <a:avLst/>
                </a:prstGeom>
                <a:ln w="9525" cap="flat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>
                  <a:off x="3102657" y="3701461"/>
                  <a:ext cx="1552516" cy="0"/>
                </a:xfrm>
                <a:prstGeom prst="line">
                  <a:avLst/>
                </a:prstGeom>
                <a:ln w="9525" cap="flat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AutoShape 36"/>
                <p:cNvSpPr/>
                <p:nvPr/>
              </p:nvSpPr>
              <p:spPr>
                <a:xfrm>
                  <a:off x="5131772" y="3701461"/>
                  <a:ext cx="1552516" cy="0"/>
                </a:xfrm>
                <a:prstGeom prst="line">
                  <a:avLst/>
                </a:prstGeom>
                <a:ln w="9525" cap="flat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7" name="AutoShape 37"/>
                <p:cNvSpPr/>
                <p:nvPr/>
              </p:nvSpPr>
              <p:spPr>
                <a:xfrm>
                  <a:off x="1073542" y="4320436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9" name="AutoShape 39"/>
                <p:cNvSpPr/>
                <p:nvPr/>
              </p:nvSpPr>
              <p:spPr>
                <a:xfrm>
                  <a:off x="3102657" y="4320436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0" name="AutoShape 40"/>
                <p:cNvSpPr/>
                <p:nvPr/>
              </p:nvSpPr>
              <p:spPr>
                <a:xfrm>
                  <a:off x="5131772" y="4320436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1" name="AutoShape 41"/>
                <p:cNvSpPr/>
                <p:nvPr/>
              </p:nvSpPr>
              <p:spPr>
                <a:xfrm>
                  <a:off x="1073542" y="4939410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3" name="AutoShape 43"/>
                <p:cNvSpPr/>
                <p:nvPr/>
              </p:nvSpPr>
              <p:spPr>
                <a:xfrm>
                  <a:off x="3102657" y="4939410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4" name="AutoShape 44"/>
                <p:cNvSpPr/>
                <p:nvPr/>
              </p:nvSpPr>
              <p:spPr>
                <a:xfrm>
                  <a:off x="5131772" y="4939410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5" name="AutoShape 45"/>
                <p:cNvSpPr/>
                <p:nvPr/>
              </p:nvSpPr>
              <p:spPr>
                <a:xfrm>
                  <a:off x="1073542" y="5558384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7" name="AutoShape 47"/>
                <p:cNvSpPr/>
                <p:nvPr/>
              </p:nvSpPr>
              <p:spPr>
                <a:xfrm>
                  <a:off x="3102657" y="5558384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5131772" y="5558384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1073542" y="6177358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3102657" y="6177358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5131772" y="6177358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1073542" y="6796332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3102657" y="6796332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5131772" y="6796332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7" name="AutoShape 57"/>
                <p:cNvSpPr/>
                <p:nvPr/>
              </p:nvSpPr>
              <p:spPr>
                <a:xfrm>
                  <a:off x="1073542" y="7415307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9" name="AutoShape 59"/>
                <p:cNvSpPr/>
                <p:nvPr/>
              </p:nvSpPr>
              <p:spPr>
                <a:xfrm>
                  <a:off x="3102657" y="7415307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0" name="AutoShape 60"/>
                <p:cNvSpPr/>
                <p:nvPr/>
              </p:nvSpPr>
              <p:spPr>
                <a:xfrm>
                  <a:off x="5131772" y="7415307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1" name="AutoShape 61"/>
                <p:cNvSpPr/>
                <p:nvPr/>
              </p:nvSpPr>
              <p:spPr>
                <a:xfrm>
                  <a:off x="1073542" y="8034281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3" name="AutoShape 63"/>
                <p:cNvSpPr/>
                <p:nvPr/>
              </p:nvSpPr>
              <p:spPr>
                <a:xfrm>
                  <a:off x="3102657" y="8034281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4" name="AutoShape 64"/>
                <p:cNvSpPr/>
                <p:nvPr/>
              </p:nvSpPr>
              <p:spPr>
                <a:xfrm>
                  <a:off x="5131772" y="8034281"/>
                  <a:ext cx="1552516" cy="0"/>
                </a:xfrm>
                <a:prstGeom prst="line">
                  <a:avLst/>
                </a:prstGeom>
                <a:ln w="9525" cap="rnd">
                  <a:solidFill>
                    <a:srgbClr val="66666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D382F718-D71A-9046-76E7-A45720DE9037}"/>
                  </a:ext>
                </a:extLst>
              </p:cNvPr>
              <p:cNvGrpSpPr/>
              <p:nvPr/>
            </p:nvGrpSpPr>
            <p:grpSpPr>
              <a:xfrm>
                <a:off x="1052420" y="2411130"/>
                <a:ext cx="5713872" cy="5599960"/>
                <a:chOff x="1052420" y="2411130"/>
                <a:chExt cx="5713872" cy="5599960"/>
              </a:xfrm>
            </p:grpSpPr>
            <p:sp>
              <p:nvSpPr>
                <p:cNvPr id="34" name="TextBox 34"/>
                <p:cNvSpPr txBox="1"/>
                <p:nvPr/>
              </p:nvSpPr>
              <p:spPr>
                <a:xfrm>
                  <a:off x="1073542" y="3592439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1.</a:t>
                  </a:r>
                </a:p>
              </p:txBody>
            </p:sp>
            <p:sp>
              <p:nvSpPr>
                <p:cNvPr id="38" name="TextBox 38"/>
                <p:cNvSpPr txBox="1"/>
                <p:nvPr/>
              </p:nvSpPr>
              <p:spPr>
                <a:xfrm>
                  <a:off x="1073542" y="4211413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2.</a:t>
                  </a:r>
                </a:p>
              </p:txBody>
            </p:sp>
            <p:sp>
              <p:nvSpPr>
                <p:cNvPr id="42" name="TextBox 42"/>
                <p:cNvSpPr txBox="1"/>
                <p:nvPr/>
              </p:nvSpPr>
              <p:spPr>
                <a:xfrm>
                  <a:off x="1073542" y="4830387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3.</a:t>
                  </a:r>
                </a:p>
              </p:txBody>
            </p:sp>
            <p:sp>
              <p:nvSpPr>
                <p:cNvPr id="46" name="TextBox 46"/>
                <p:cNvSpPr txBox="1"/>
                <p:nvPr/>
              </p:nvSpPr>
              <p:spPr>
                <a:xfrm>
                  <a:off x="1073542" y="5449362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4.</a:t>
                  </a:r>
                </a:p>
              </p:txBody>
            </p:sp>
            <p:sp>
              <p:nvSpPr>
                <p:cNvPr id="50" name="TextBox 50"/>
                <p:cNvSpPr txBox="1"/>
                <p:nvPr/>
              </p:nvSpPr>
              <p:spPr>
                <a:xfrm>
                  <a:off x="1073542" y="6068336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5.</a:t>
                  </a:r>
                </a:p>
              </p:txBody>
            </p:sp>
            <p:sp>
              <p:nvSpPr>
                <p:cNvPr id="54" name="TextBox 54"/>
                <p:cNvSpPr txBox="1"/>
                <p:nvPr/>
              </p:nvSpPr>
              <p:spPr>
                <a:xfrm>
                  <a:off x="1073542" y="6687310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6.</a:t>
                  </a:r>
                </a:p>
              </p:txBody>
            </p:sp>
            <p:sp>
              <p:nvSpPr>
                <p:cNvPr id="58" name="TextBox 58"/>
                <p:cNvSpPr txBox="1"/>
                <p:nvPr/>
              </p:nvSpPr>
              <p:spPr>
                <a:xfrm>
                  <a:off x="1073542" y="7306284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7.</a:t>
                  </a:r>
                </a:p>
              </p:txBody>
            </p:sp>
            <p:sp>
              <p:nvSpPr>
                <p:cNvPr id="62" name="TextBox 62"/>
                <p:cNvSpPr txBox="1"/>
                <p:nvPr/>
              </p:nvSpPr>
              <p:spPr>
                <a:xfrm>
                  <a:off x="1073542" y="7925258"/>
                  <a:ext cx="165455" cy="85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96"/>
                    </a:lnSpc>
                  </a:pPr>
                  <a:r>
                    <a:rPr lang="en-US" sz="650" spc="132" dirty="0">
                      <a:solidFill>
                        <a:srgbClr val="000000"/>
                      </a:solidFill>
                      <a:latin typeface="Mansalva"/>
                    </a:rPr>
                    <a:t>8.</a:t>
                  </a:r>
                </a:p>
              </p:txBody>
            </p:sp>
            <p:sp>
              <p:nvSpPr>
                <p:cNvPr id="65" name="TextBox 65"/>
                <p:cNvSpPr txBox="1"/>
                <p:nvPr/>
              </p:nvSpPr>
              <p:spPr>
                <a:xfrm>
                  <a:off x="1073542" y="3025088"/>
                  <a:ext cx="1629579" cy="9810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734"/>
                    </a:lnSpc>
                  </a:pPr>
                  <a:r>
                    <a:rPr lang="en-US" sz="800" spc="163" dirty="0">
                      <a:solidFill>
                        <a:srgbClr val="000000"/>
                      </a:solidFill>
                      <a:latin typeface="Mansalva"/>
                    </a:rPr>
                    <a:t>NAME</a:t>
                  </a:r>
                </a:p>
              </p:txBody>
            </p:sp>
            <p:sp>
              <p:nvSpPr>
                <p:cNvPr id="66" name="TextBox 66"/>
                <p:cNvSpPr txBox="1"/>
                <p:nvPr/>
              </p:nvSpPr>
              <p:spPr>
                <a:xfrm>
                  <a:off x="3102657" y="3025088"/>
                  <a:ext cx="1547160" cy="9810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734"/>
                    </a:lnSpc>
                  </a:pPr>
                  <a:r>
                    <a:rPr lang="en-US" sz="800" spc="163" dirty="0">
                      <a:solidFill>
                        <a:srgbClr val="000000"/>
                      </a:solidFill>
                      <a:latin typeface="Mansalva"/>
                    </a:rPr>
                    <a:t>DISHES</a:t>
                  </a:r>
                </a:p>
              </p:txBody>
            </p:sp>
            <p:sp>
              <p:nvSpPr>
                <p:cNvPr id="67" name="TextBox 67"/>
                <p:cNvSpPr txBox="1"/>
                <p:nvPr/>
              </p:nvSpPr>
              <p:spPr>
                <a:xfrm>
                  <a:off x="5131772" y="3025088"/>
                  <a:ext cx="1438413" cy="9810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734"/>
                    </a:lnSpc>
                  </a:pPr>
                  <a:r>
                    <a:rPr lang="en-US" sz="800" spc="163" dirty="0">
                      <a:solidFill>
                        <a:srgbClr val="000000"/>
                      </a:solidFill>
                      <a:latin typeface="Mansalva"/>
                    </a:rPr>
                    <a:t>NOTES</a:t>
                  </a:r>
                </a:p>
              </p:txBody>
            </p:sp>
            <p:sp>
              <p:nvSpPr>
                <p:cNvPr id="68" name="TextBox 68"/>
                <p:cNvSpPr txBox="1"/>
                <p:nvPr/>
              </p:nvSpPr>
              <p:spPr>
                <a:xfrm>
                  <a:off x="1052420" y="2411130"/>
                  <a:ext cx="1957240" cy="9810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734"/>
                    </a:lnSpc>
                  </a:pPr>
                  <a:r>
                    <a:rPr lang="en-US" sz="800" spc="163" dirty="0">
                      <a:solidFill>
                        <a:srgbClr val="000000"/>
                      </a:solidFill>
                      <a:latin typeface="Mansalva"/>
                    </a:rPr>
                    <a:t>OCTOBER 31, 2024</a:t>
                  </a:r>
                </a:p>
              </p:txBody>
            </p:sp>
            <p:sp>
              <p:nvSpPr>
                <p:cNvPr id="69" name="TextBox 69"/>
                <p:cNvSpPr txBox="1"/>
                <p:nvPr/>
              </p:nvSpPr>
              <p:spPr>
                <a:xfrm>
                  <a:off x="3519994" y="2411130"/>
                  <a:ext cx="3246298" cy="9810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734"/>
                    </a:lnSpc>
                  </a:pPr>
                  <a:r>
                    <a:rPr lang="en-US" sz="800" spc="163" dirty="0">
                      <a:solidFill>
                        <a:srgbClr val="000000"/>
                      </a:solidFill>
                      <a:latin typeface="Mansalva"/>
                    </a:rPr>
                    <a:t>123 PINE STREET, ANYTOWN, USA</a:t>
                  </a:r>
                </a:p>
              </p:txBody>
            </p: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4B9146A-8082-9795-7481-3414A6C568A6}"/>
                </a:ext>
              </a:extLst>
            </p:cNvPr>
            <p:cNvGrpSpPr/>
            <p:nvPr/>
          </p:nvGrpSpPr>
          <p:grpSpPr>
            <a:xfrm>
              <a:off x="1965354" y="491180"/>
              <a:ext cx="3625791" cy="1544390"/>
              <a:chOff x="2010210" y="491180"/>
              <a:chExt cx="3625791" cy="1544390"/>
            </a:xfrm>
          </p:grpSpPr>
          <p:sp>
            <p:nvSpPr>
              <p:cNvPr id="19" name="TextBox 19"/>
              <p:cNvSpPr txBox="1"/>
              <p:nvPr/>
            </p:nvSpPr>
            <p:spPr>
              <a:xfrm>
                <a:off x="2010210" y="758744"/>
                <a:ext cx="3625791" cy="12768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4800"/>
                  </a:lnSpc>
                </a:pPr>
                <a:r>
                  <a:rPr lang="en-US" sz="4800" dirty="0">
                    <a:solidFill>
                      <a:srgbClr val="FFC34E"/>
                    </a:solidFill>
                    <a:latin typeface="Butcherman"/>
                  </a:rPr>
                  <a:t>HALLOWEEN POTLUCK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2820648" y="491180"/>
                <a:ext cx="2004914" cy="981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734"/>
                  </a:lnSpc>
                  <a:spcBef>
                    <a:spcPct val="0"/>
                  </a:spcBef>
                </a:pPr>
                <a:r>
                  <a:rPr lang="en-US" sz="800" spc="163" dirty="0">
                    <a:solidFill>
                      <a:srgbClr val="FFC34E"/>
                    </a:solidFill>
                    <a:latin typeface="Mansalva"/>
                  </a:rPr>
                  <a:t>SIGN UP SHEET</a:t>
                </a:r>
              </a:p>
            </p:txBody>
          </p:sp>
        </p:grpSp>
        <p:sp>
          <p:nvSpPr>
            <p:cNvPr id="70" name="TemplateLAB"/>
            <p:cNvSpPr/>
            <p:nvPr/>
          </p:nvSpPr>
          <p:spPr>
            <a:xfrm>
              <a:off x="3438001" y="8477632"/>
              <a:ext cx="683998" cy="112860"/>
            </a:xfrm>
            <a:custGeom>
              <a:avLst/>
              <a:gdLst/>
              <a:ahLst/>
              <a:cxnLst/>
              <a:rect l="l" t="t" r="r" b="b"/>
              <a:pathLst>
                <a:path w="683998" h="112860">
                  <a:moveTo>
                    <a:pt x="0" y="0"/>
                  </a:moveTo>
                  <a:lnTo>
                    <a:pt x="683998" y="0"/>
                  </a:lnTo>
                  <a:lnTo>
                    <a:pt x="683998" y="112860"/>
                  </a:lnTo>
                  <a:lnTo>
                    <a:pt x="0" y="11286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35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Mansalva</vt:lpstr>
      <vt:lpstr>Butcherman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Potluck sign up sheet</dc:title>
  <dc:creator>Hoang Anh</dc:creator>
  <cp:lastModifiedBy>Hoang Anh</cp:lastModifiedBy>
  <cp:revision>23</cp:revision>
  <dcterms:created xsi:type="dcterms:W3CDTF">2006-08-16T00:00:00Z</dcterms:created>
  <dcterms:modified xsi:type="dcterms:W3CDTF">2024-03-22T09:12:18Z</dcterms:modified>
  <dc:identifier>DAGAMtRJytg</dc:identifier>
</cp:coreProperties>
</file>